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328" r:id="rId9"/>
    <p:sldId id="301" r:id="rId10"/>
    <p:sldId id="317" r:id="rId11"/>
    <p:sldId id="316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04C"/>
    <a:srgbClr val="194093"/>
    <a:srgbClr val="A13E50"/>
    <a:srgbClr val="6E8A95"/>
    <a:srgbClr val="DCB534"/>
    <a:srgbClr val="053F9D"/>
    <a:srgbClr val="6BAFC5"/>
    <a:srgbClr val="7BB4CB"/>
    <a:srgbClr val="6190A0"/>
    <a:srgbClr val="173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0" autoAdjust="0"/>
    <p:restoredTop sz="70581" autoAdjust="0"/>
  </p:normalViewPr>
  <p:slideViewPr>
    <p:cSldViewPr snapToGrid="0">
      <p:cViewPr>
        <p:scale>
          <a:sx n="33" d="100"/>
          <a:sy n="33" d="100"/>
        </p:scale>
        <p:origin x="1356" y="588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27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C427F3-1757-4697-EAFC-FCD1143EB6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614" y="305054"/>
            <a:ext cx="10468772" cy="581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64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289367"/>
            <a:ext cx="5382227" cy="2210765"/>
          </a:xfrm>
          <a:prstGeom prst="roundRect">
            <a:avLst>
              <a:gd name="adj" fmla="val 16143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275410" y="289367"/>
            <a:ext cx="5382227" cy="2210765"/>
          </a:xfrm>
          <a:prstGeom prst="roundRect">
            <a:avLst>
              <a:gd name="adj" fmla="val 16143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252486"/>
            <a:ext cx="5382227" cy="2210765"/>
          </a:xfrm>
          <a:prstGeom prst="roundRect">
            <a:avLst>
              <a:gd name="adj" fmla="val 16143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275410" y="3252486"/>
            <a:ext cx="5382227" cy="2210765"/>
          </a:xfrm>
          <a:prstGeom prst="roundRect">
            <a:avLst>
              <a:gd name="adj" fmla="val 16143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9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5506" y="1335855"/>
            <a:ext cx="5662866" cy="381484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CB4F1DF-9322-086A-F10C-CBE03342523F}"/>
              </a:ext>
            </a:extLst>
          </p:cNvPr>
          <p:cNvGrpSpPr/>
          <p:nvPr/>
        </p:nvGrpSpPr>
        <p:grpSpPr>
          <a:xfrm>
            <a:off x="570269" y="1084544"/>
            <a:ext cx="4799390" cy="3662555"/>
            <a:chOff x="7126711" y="209054"/>
            <a:chExt cx="4799390" cy="366255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48A2289-5DC1-06C4-B246-A4C9B1CC5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10839797" y="209054"/>
              <a:ext cx="108630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/>
                <a:t>Ozon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4E79BAF-2272-420C-0326-707E8F6DE236}"/>
              </a:ext>
            </a:extLst>
          </p:cNvPr>
          <p:cNvSpPr/>
          <p:nvPr/>
        </p:nvSpPr>
        <p:spPr>
          <a:xfrm>
            <a:off x="6420255" y="3618689"/>
            <a:ext cx="525294" cy="888460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86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025" y="1411180"/>
            <a:ext cx="5662866" cy="381484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448077" y="1330379"/>
            <a:ext cx="5277984" cy="3895646"/>
            <a:chOff x="5793082" y="1650117"/>
            <a:chExt cx="5277984" cy="389564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5793082" y="5176431"/>
              <a:ext cx="180845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us 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5181600" y="1686128"/>
            <a:ext cx="525294" cy="22243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872</TotalTime>
  <Words>551</Words>
  <Application>Microsoft Office PowerPoint</Application>
  <PresentationFormat>Widescreen</PresentationFormat>
  <Paragraphs>100</Paragraphs>
  <Slides>2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20</cp:revision>
  <dcterms:created xsi:type="dcterms:W3CDTF">2024-05-04T04:26:45Z</dcterms:created>
  <dcterms:modified xsi:type="dcterms:W3CDTF">2024-05-06T08:3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